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73" d="100"/>
          <a:sy n="73" d="100"/>
        </p:scale>
        <p:origin x="618" y="54"/>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5/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5/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xmlns=""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xmlns=""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xmlns=""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xmlns=""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xmlns=""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xmlns=""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9.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3.xml"/><Relationship Id="rId4" Type="http://schemas.openxmlformats.org/officeDocument/2006/relationships/image" Target="../media/image92.png"/></Relationships>
</file>

<file path=ppt/slides/_rels/slide4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smtClean="0"/>
              <a:t>Yash Jain</a:t>
            </a:r>
            <a:endParaRPr lang="en-US" dirty="0"/>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
        <p:nvSpPr>
          <p:cNvPr id="29" name="Rectangle 28"/>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25843178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5" name="Rectangle 4"/>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39650373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5" name="Rectangle 4"/>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39209055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5" name="Rectangle 4"/>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669807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
        <p:nvSpPr>
          <p:cNvPr id="31" name="Rectangle 30"/>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5757145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5" name="Rectangle 4"/>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137681797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Rectangle 5"/>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26648903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Rectangle 5"/>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827668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
        <p:nvSpPr>
          <p:cNvPr id="5" name="Rectangle 4"/>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custDataLst>
      <p:tags r:id="rId1"/>
    </p:custDataLst>
    <p:extLst>
      <p:ext uri="{BB962C8B-B14F-4D97-AF65-F5344CB8AC3E}">
        <p14:creationId xmlns:p14="http://schemas.microsoft.com/office/powerpoint/2010/main" val="17197661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Rectangle 5"/>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270291066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5" name="Rectangle 4"/>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91471592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Rectangle 5"/>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42330328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Rectangle 7"/>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19280188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8" name="Rectangle 7"/>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87255950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7" name="Rectangle 6"/>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11167906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7" name="Rectangle 6"/>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230429287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7" name="Rectangle 6"/>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168128158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Rectangle 8"/>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34368526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17" name="Rectangle 16"/>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183170449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Rectangle 8"/>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227110342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Rectangle 8"/>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354706083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Rectangle 8"/>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Rectangle 8"/>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351042475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8819522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
        <p:nvSpPr>
          <p:cNvPr id="17" name="Rectangle 16"/>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398094140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
        <p:nvSpPr>
          <p:cNvPr id="8" name="Rectangle 7"/>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156131216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
        <p:nvSpPr>
          <p:cNvPr id="5" name="Rectangle 4"/>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28978643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xmlns=""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
        <p:nvSpPr>
          <p:cNvPr id="7" name="Rectangle 6"/>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76336556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
        <p:nvSpPr>
          <p:cNvPr id="7" name="Rectangle 6"/>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
        <p:nvSpPr>
          <p:cNvPr id="18" name="Rectangle 17"/>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311199238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Rectangle 6"/>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155871960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5" name="Rectangle 4"/>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401143329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
        <p:nvSpPr>
          <p:cNvPr id="12" name="Rectangle 11"/>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399863222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 name="Rectangle 6"/>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219288716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 name="Rectangle 6"/>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15233902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xmlns=""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
        <p:nvSpPr>
          <p:cNvPr id="5" name="Rectangle 4"/>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12760816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
        <p:nvSpPr>
          <p:cNvPr id="45" name="Rectangle 44"/>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20202062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40" name="Rectangle 39"/>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32689560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442557"/>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
        <p:nvSpPr>
          <p:cNvPr id="12" name="Rectangle 11"/>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3905234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
        <p:nvSpPr>
          <p:cNvPr id="13" name="Rectangle 12"/>
          <p:cNvSpPr/>
          <p:nvPr/>
        </p:nvSpPr>
        <p:spPr>
          <a:xfrm>
            <a:off x="0" y="6453336"/>
            <a:ext cx="12192000" cy="404664"/>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smtClean="0"/>
          </a:p>
        </p:txBody>
      </p:sp>
    </p:spTree>
    <p:extLst>
      <p:ext uri="{BB962C8B-B14F-4D97-AF65-F5344CB8AC3E}">
        <p14:creationId xmlns:p14="http://schemas.microsoft.com/office/powerpoint/2010/main" val="32245660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http://schemas.openxmlformats.org/package/2006/metadata/core-properties"/>
    <ds:schemaRef ds:uri="http://schemas.microsoft.com/office/2006/metadata/properties"/>
    <ds:schemaRef ds:uri="http://schemas.microsoft.com/office/infopath/2007/PartnerControls"/>
    <ds:schemaRef ds:uri="http://purl.org/dc/dcmitype/"/>
    <ds:schemaRef ds:uri="http://www.w3.org/XML/1998/namespace"/>
    <ds:schemaRef ds:uri="http://schemas.microsoft.com/office/2006/documentManagement/types"/>
    <ds:schemaRef ds:uri="31fa4da7-ec37-47f4-9a31-fa58fa1a2f22"/>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31089</TotalTime>
  <Words>3388</Words>
  <Application>Microsoft Office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yash jain</cp:lastModifiedBy>
  <cp:revision>73</cp:revision>
  <cp:lastPrinted>2000-01-01T00:00:00Z</cp:lastPrinted>
  <dcterms:created xsi:type="dcterms:W3CDTF">2022-01-15T17:28:45Z</dcterms:created>
  <dcterms:modified xsi:type="dcterms:W3CDTF">2024-05-16T16:19:05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